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4"/>
    <p:sldMasterId id="2147483652" r:id="rId5"/>
    <p:sldMasterId id="2147483720" r:id="rId6"/>
  </p:sldMasterIdLst>
  <p:notesMasterIdLst>
    <p:notesMasterId r:id="rId8"/>
  </p:notesMasterIdLst>
  <p:handoutMasterIdLst>
    <p:handoutMasterId r:id="rId9"/>
  </p:handoutMasterIdLst>
  <p:sldIdLst>
    <p:sldId id="6326" r:id="rId7"/>
  </p:sldIdLst>
  <p:sldSz cx="9144000" cy="6858000" type="screen4x3"/>
  <p:notesSz cx="6950075" cy="9236075"/>
  <p:custDataLst>
    <p:tags r:id="rId10"/>
  </p:custDataLst>
  <p:defaultTextStyle>
    <a:defPPr>
      <a:defRPr lang="en-US"/>
    </a:defPPr>
    <a:lvl1pPr algn="r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 baseline="-250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24">
          <p15:clr>
            <a:srgbClr val="A4A3A4"/>
          </p15:clr>
        </p15:guide>
        <p15:guide id="2" pos="2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A69"/>
    <a:srgbClr val="FFFFFF"/>
    <a:srgbClr val="E1DFD4"/>
    <a:srgbClr val="965211"/>
    <a:srgbClr val="D6D6D6"/>
    <a:srgbClr val="CFE5FA"/>
    <a:srgbClr val="D5D5D5"/>
    <a:srgbClr val="E4E3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54" autoAdjust="0"/>
    <p:restoredTop sz="89981" autoAdjust="0"/>
  </p:normalViewPr>
  <p:slideViewPr>
    <p:cSldViewPr>
      <p:cViewPr varScale="1">
        <p:scale>
          <a:sx n="102" d="100"/>
          <a:sy n="102" d="100"/>
        </p:scale>
        <p:origin x="2166" y="114"/>
      </p:cViewPr>
      <p:guideLst>
        <p:guide orient="horz" pos="4224"/>
        <p:guide pos="2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3" d="100"/>
          <a:sy n="53" d="100"/>
        </p:scale>
        <p:origin x="-1896" y="-90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hoads, Mike S" userId="bf385891-9e86-42a8-aae0-1dbe5cb089b7" providerId="ADAL" clId="{51753F72-F13A-43B7-BAF2-EF3ECE7A5912}"/>
    <pc:docChg chg="custSel modSld">
      <pc:chgData name="Rhoads, Mike S" userId="bf385891-9e86-42a8-aae0-1dbe5cb089b7" providerId="ADAL" clId="{51753F72-F13A-43B7-BAF2-EF3ECE7A5912}" dt="2021-05-05T12:18:13.759" v="45" actId="115"/>
      <pc:docMkLst>
        <pc:docMk/>
      </pc:docMkLst>
      <pc:sldChg chg="modSp mod">
        <pc:chgData name="Rhoads, Mike S" userId="bf385891-9e86-42a8-aae0-1dbe5cb089b7" providerId="ADAL" clId="{51753F72-F13A-43B7-BAF2-EF3ECE7A5912}" dt="2021-05-05T12:18:13.759" v="45" actId="115"/>
        <pc:sldMkLst>
          <pc:docMk/>
          <pc:sldMk cId="2995963030" sldId="6326"/>
        </pc:sldMkLst>
        <pc:spChg chg="mod">
          <ac:chgData name="Rhoads, Mike S" userId="bf385891-9e86-42a8-aae0-1dbe5cb089b7" providerId="ADAL" clId="{51753F72-F13A-43B7-BAF2-EF3ECE7A5912}" dt="2021-05-05T12:18:13.759" v="45" actId="115"/>
          <ac:spMkLst>
            <pc:docMk/>
            <pc:sldMk cId="2995963030" sldId="6326"/>
            <ac:spMk id="2" creationId="{99773702-AC82-4A37-B161-F501E35CBC97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t" anchorCtr="0" compatLnSpc="1">
            <a:prstTxWarp prst="textNoShape">
              <a:avLst/>
            </a:prstTxWarp>
          </a:bodyPr>
          <a:lstStyle>
            <a:lvl1pPr algn="l"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6173" y="0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t" anchorCtr="0" compatLnSpc="1">
            <a:prstTxWarp prst="textNoShape">
              <a:avLst/>
            </a:prstTxWarp>
          </a:bodyPr>
          <a:lstStyle>
            <a:lvl1pPr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72378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b" anchorCtr="0" compatLnSpc="1">
            <a:prstTxWarp prst="textNoShape">
              <a:avLst/>
            </a:prstTxWarp>
          </a:bodyPr>
          <a:lstStyle>
            <a:lvl1pPr algn="l"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6173" y="8772378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b" anchorCtr="0" compatLnSpc="1">
            <a:prstTxWarp prst="textNoShape">
              <a:avLst/>
            </a:prstTxWarp>
          </a:bodyPr>
          <a:lstStyle>
            <a:lvl1pPr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fld id="{7AF24D29-CA14-4901-8F56-F54ED25BFF1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63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t" anchorCtr="0" compatLnSpc="1">
            <a:prstTxWarp prst="textNoShape">
              <a:avLst/>
            </a:prstTxWarp>
          </a:bodyPr>
          <a:lstStyle>
            <a:lvl1pPr algn="l"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36173" y="0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t" anchorCtr="0" compatLnSpc="1">
            <a:prstTxWarp prst="textNoShape">
              <a:avLst/>
            </a:prstTxWarp>
          </a:bodyPr>
          <a:lstStyle>
            <a:lvl1pPr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04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5225" y="692150"/>
            <a:ext cx="4618038" cy="3465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637" y="4387767"/>
            <a:ext cx="5560375" cy="4155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72378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b" anchorCtr="0" compatLnSpc="1">
            <a:prstTxWarp prst="textNoShape">
              <a:avLst/>
            </a:prstTxWarp>
          </a:bodyPr>
          <a:lstStyle>
            <a:lvl1pPr algn="l"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6173" y="8772378"/>
            <a:ext cx="3012329" cy="462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553" tIns="45777" rIns="91553" bIns="45777" numCol="1" anchor="b" anchorCtr="0" compatLnSpc="1">
            <a:prstTxWarp prst="textNoShape">
              <a:avLst/>
            </a:prstTxWarp>
          </a:bodyPr>
          <a:lstStyle>
            <a:lvl1pPr defTabSz="915513">
              <a:defRPr sz="1200" baseline="0">
                <a:latin typeface="Times New Roman" pitchFamily="18" charset="0"/>
              </a:defRPr>
            </a:lvl1pPr>
          </a:lstStyle>
          <a:p>
            <a:pPr>
              <a:defRPr/>
            </a:pPr>
            <a:fld id="{D25B09C4-4F72-4410-88EF-BB93A13A87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7050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928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29.xml"/><Relationship Id="rId21" Type="http://schemas.openxmlformats.org/officeDocument/2006/relationships/image" Target="../media/image6.jpe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10" Type="http://schemas.openxmlformats.org/officeDocument/2006/relationships/tags" Target="../tags/tag36.xml"/><Relationship Id="rId19" Type="http://schemas.openxmlformats.org/officeDocument/2006/relationships/oleObject" Target="../embeddings/oleObject5.bin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45.xml"/><Relationship Id="rId21" Type="http://schemas.openxmlformats.org/officeDocument/2006/relationships/image" Target="../media/image6.jpeg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10" Type="http://schemas.openxmlformats.org/officeDocument/2006/relationships/tags" Target="../tags/tag52.xml"/><Relationship Id="rId19" Type="http://schemas.openxmlformats.org/officeDocument/2006/relationships/oleObject" Target="../embeddings/oleObject6.bin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image" Target="../media/image3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61.xml"/><Relationship Id="rId21" Type="http://schemas.openxmlformats.org/officeDocument/2006/relationships/image" Target="../media/image6.jpeg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10" Type="http://schemas.openxmlformats.org/officeDocument/2006/relationships/tags" Target="../tags/tag68.xml"/><Relationship Id="rId19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7" descr="09647 USS ERP PPT Mast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19" descr="ussc_whit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20663"/>
            <a:ext cx="3124200" cy="465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681370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E0F055-F848-43BF-92CE-85C2CB3DFAE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577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C7D25A-DAAA-49E7-AC81-E9869E0B011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686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63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67FDE3-CDFF-4F5F-8697-11F6D5A2463F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7F364C-4FEA-40E7-9A5D-00D82A4243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575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78738C-F833-45E8-B018-1987B54A2446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41ACB0-94C5-4AC3-905A-371D41ECAE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451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769BCE-3C84-4F99-88B9-7805145552CB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A9BC41-1296-4CB6-97B9-A4933030076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5832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2CE7B-3CC9-43C5-907C-CDA7A260EA66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FB68BA-1392-4309-90C4-E0F6B56FCD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3316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D244EC-258F-4EF2-BCE2-F30F0B76A021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4A8DE3-51EE-442C-9574-CA913CE31FD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646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0D2269-0A91-4216-B8F1-8B7C12A276C0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4A85DA-C19C-45F7-A7EA-BBD0D0DE449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061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75A5A7-7EE0-4CFB-86F8-FE3552D1B9D4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C1025F-F73F-4914-A4FA-E2E7818A07C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4920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6B8580-E017-4BC1-A42C-06BCDC051119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98EC7E-2220-4BF4-B34E-7244F6235C0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3670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42AB8D-0240-4819-A397-AE70FC087AC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7057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6756DD-1B95-46F4-A921-482060527D5A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E06BCA-FF95-4909-A8F3-B6AE062DF1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5369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1C17C1-967B-41C3-A51E-14E2BC78D63E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A51C25-207A-4441-9299-6E0FA4F5618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9857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AADE81-17D7-4814-A227-43BF7EEF6277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C50F08-4136-4ADA-A406-22A5AFE5F98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901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57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57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09647 USS ERP PPT Master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8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Title Elements" hidden="1"/>
          <p:cNvGrpSpPr>
            <a:grpSpLocks/>
          </p:cNvGrpSpPr>
          <p:nvPr userDrawn="1"/>
        </p:nvGrpSpPr>
        <p:grpSpPr bwMode="auto">
          <a:xfrm>
            <a:off x="2687325" y="5797071"/>
            <a:ext cx="5225605" cy="655997"/>
            <a:chOff x="1663" y="3463"/>
            <a:chExt cx="3226" cy="405"/>
          </a:xfrm>
        </p:grpSpPr>
        <p:sp>
          <p:nvSpPr>
            <p:cNvPr id="7" name="Document type"/>
            <p:cNvSpPr txBox="1">
              <a:spLocks noChangeArrowheads="1"/>
            </p:cNvSpPr>
            <p:nvPr/>
          </p:nvSpPr>
          <p:spPr bwMode="auto">
            <a:xfrm>
              <a:off x="1663" y="3463"/>
              <a:ext cx="3109" cy="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dirty="0">
                  <a:solidFill>
                    <a:srgbClr val="003B6A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8" name="Date"/>
            <p:cNvSpPr txBox="1">
              <a:spLocks noChangeArrowheads="1"/>
            </p:cNvSpPr>
            <p:nvPr/>
          </p:nvSpPr>
          <p:spPr bwMode="auto">
            <a:xfrm>
              <a:off x="1663" y="3555"/>
              <a:ext cx="3109" cy="7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dirty="0">
                  <a:solidFill>
                    <a:srgbClr val="003B6A"/>
                  </a:solidFill>
                  <a:latin typeface="Arial"/>
                </a:rPr>
                <a:t>Date</a:t>
              </a:r>
            </a:p>
          </p:txBody>
        </p:sp>
        <p:sp>
          <p:nvSpPr>
            <p:cNvPr id="9" name="Disclaimer"/>
            <p:cNvSpPr>
              <a:spLocks noChangeArrowheads="1"/>
            </p:cNvSpPr>
            <p:nvPr/>
          </p:nvSpPr>
          <p:spPr bwMode="auto">
            <a:xfrm>
              <a:off x="1663" y="3754"/>
              <a:ext cx="3226" cy="11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61498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dirty="0">
                  <a:solidFill>
                    <a:srgbClr val="003B6A"/>
                  </a:solidFill>
                </a:rPr>
                <a:t>CONFIDENTIAL AND PROPRIETARY</a:t>
              </a:r>
            </a:p>
            <a:p>
              <a:pPr defTabSz="614989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dirty="0">
                  <a:solidFill>
                    <a:srgbClr val="003B6A"/>
                  </a:solidFill>
                </a:rPr>
                <a:t>Any use of this material without specific permission of McKinsey &amp; Company is strictly prohibited</a:t>
              </a:r>
            </a:p>
          </p:txBody>
        </p:sp>
      </p:grpSp>
      <p:pic>
        <p:nvPicPr>
          <p:cNvPr id="10" name="Picture 31" descr="USS Circle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8680" y="171702"/>
            <a:ext cx="466514" cy="46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9"/>
          <p:cNvSpPr txBox="1">
            <a:spLocks noChangeArrowheads="1"/>
          </p:cNvSpPr>
          <p:nvPr userDrawn="1"/>
        </p:nvSpPr>
        <p:spPr bwMode="auto">
          <a:xfrm>
            <a:off x="6187799" y="6636910"/>
            <a:ext cx="115736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6986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FFFFFF"/>
                </a:solidFill>
                <a:cs typeface="Arial" pitchFamily="34" charset="0"/>
              </a:rPr>
              <a:t>United States Steel Corporation</a:t>
            </a:r>
            <a:endParaRPr lang="en-US" sz="1350" dirty="0">
              <a:solidFill>
                <a:srgbClr val="003B6A"/>
              </a:solidFill>
              <a:cs typeface="Arial" pitchFamily="34" charset="0"/>
            </a:endParaRPr>
          </a:p>
        </p:txBody>
      </p: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244996" y="37255"/>
            <a:ext cx="670614" cy="12472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/>
          <a:lstStyle/>
          <a:p>
            <a:pPr algn="r" defTabSz="68412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86521" y="4269429"/>
            <a:ext cx="5658329" cy="311624"/>
          </a:xfrm>
          <a:prstGeom prst="rect">
            <a:avLst/>
          </a:prstGeom>
        </p:spPr>
        <p:txBody>
          <a:bodyPr anchor="t"/>
          <a:lstStyle>
            <a:lvl1pPr>
              <a:defRPr sz="2025" b="1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86521" y="5106114"/>
            <a:ext cx="5658329" cy="161583"/>
          </a:xfrm>
        </p:spPr>
        <p:txBody>
          <a:bodyPr/>
          <a:lstStyle>
            <a:lvl1pPr>
              <a:defRPr sz="105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Rectangle 286"/>
          <p:cNvSpPr txBox="1">
            <a:spLocks noChangeArrowheads="1"/>
          </p:cNvSpPr>
          <p:nvPr userDrawn="1"/>
        </p:nvSpPr>
        <p:spPr bwMode="auto">
          <a:xfrm>
            <a:off x="2870366" y="6662020"/>
            <a:ext cx="200215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3B6A"/>
              </a:buClr>
              <a:defRPr/>
            </a:pPr>
            <a:r>
              <a:rPr lang="en-US" sz="750" dirty="0">
                <a:solidFill>
                  <a:srgbClr val="808080"/>
                </a:solidFill>
              </a:rPr>
              <a:t>CONFIDENTIAL – NOT TO BE DISTRIBUTED</a:t>
            </a:r>
          </a:p>
        </p:txBody>
      </p:sp>
    </p:spTree>
    <p:extLst>
      <p:ext uri="{BB962C8B-B14F-4D97-AF65-F5344CB8AC3E}">
        <p14:creationId xmlns:p14="http://schemas.microsoft.com/office/powerpoint/2010/main" val="4568700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1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3" name="Object 31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0" descr="09647 USS ERP PPT Master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8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1. On-page tracker" hidden="1"/>
          <p:cNvSpPr>
            <a:spLocks noChangeArrowheads="1"/>
          </p:cNvSpPr>
          <p:nvPr/>
        </p:nvSpPr>
        <p:spPr bwMode="auto">
          <a:xfrm>
            <a:off x="827748" y="6479"/>
            <a:ext cx="458459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dirty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auto">
          <a:xfrm>
            <a:off x="2387646" y="910305"/>
            <a:ext cx="5327656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/>
        </p:nvGrpSpPr>
        <p:grpSpPr bwMode="auto">
          <a:xfrm>
            <a:off x="218680" y="6413780"/>
            <a:ext cx="5518796" cy="332462"/>
            <a:chOff x="214043" y="6286320"/>
            <a:chExt cx="5408882" cy="325615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auto">
            <a:xfrm>
              <a:off x="214043" y="6286320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dirty="0">
                  <a:solidFill>
                    <a:srgbClr val="003B6A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auto">
            <a:xfrm>
              <a:off x="214043" y="6498896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359044" indent="-359044" defTabSz="684128" fontAlgn="base">
                <a:spcBef>
                  <a:spcPct val="0"/>
                </a:spcBef>
                <a:spcAft>
                  <a:spcPct val="0"/>
                </a:spcAft>
                <a:tabLst>
                  <a:tab pos="360259" algn="l"/>
                </a:tabLst>
                <a:defRPr/>
              </a:pPr>
              <a:r>
                <a:rPr lang="en-US" sz="750" dirty="0">
                  <a:solidFill>
                    <a:srgbClr val="003B6A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2377926" y="1924259"/>
            <a:ext cx="4389768" cy="387119"/>
            <a:chOff x="915" y="791"/>
            <a:chExt cx="2686" cy="239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003B6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3" name="Picture 31" descr="USS Circle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18680" y="171702"/>
            <a:ext cx="466514" cy="46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6187799" y="6637713"/>
            <a:ext cx="115736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6986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FFFFFF"/>
                </a:solidFill>
                <a:cs typeface="Arial" pitchFamily="34" charset="0"/>
              </a:rPr>
              <a:t>United States Steel Corporation</a:t>
            </a:r>
            <a:endParaRPr lang="en-US" sz="1350" dirty="0">
              <a:solidFill>
                <a:srgbClr val="003B6A"/>
              </a:solidFill>
              <a:cs typeface="Arial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136458" y="962129"/>
            <a:ext cx="644695" cy="1004243"/>
            <a:chOff x="4936" y="176"/>
            <a:chExt cx="398" cy="620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822204" y="962130"/>
            <a:ext cx="958945" cy="696491"/>
            <a:chOff x="4750" y="176"/>
            <a:chExt cx="592" cy="43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827070" y="962134"/>
            <a:ext cx="1088533" cy="217046"/>
            <a:chOff x="7673880" y="285750"/>
            <a:chExt cx="1066895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946910" y="285750"/>
              <a:ext cx="793865" cy="1626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068423" y="962138"/>
            <a:ext cx="711929" cy="1333051"/>
            <a:chOff x="6655594" y="273840"/>
            <a:chExt cx="697856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4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1179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816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28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506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1012"/>
              <a:ext cx="209550" cy="209551"/>
              <a:chOff x="4495" y="1197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</p:grpSp>
      <p:sp>
        <p:nvSpPr>
          <p:cNvPr id="56" name="Rectangle 286"/>
          <p:cNvSpPr txBox="1">
            <a:spLocks noChangeArrowheads="1"/>
          </p:cNvSpPr>
          <p:nvPr userDrawn="1"/>
        </p:nvSpPr>
        <p:spPr bwMode="auto">
          <a:xfrm>
            <a:off x="2870366" y="6662020"/>
            <a:ext cx="200215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3B6A"/>
              </a:buClr>
              <a:defRPr/>
            </a:pPr>
            <a:r>
              <a:rPr lang="en-US" sz="750" dirty="0">
                <a:solidFill>
                  <a:srgbClr val="808080"/>
                </a:solidFill>
              </a:rPr>
              <a:t>CONFIDENTIAL – NOT TO BE DISTRIBUTED</a:t>
            </a: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798583" y="6626170"/>
            <a:ext cx="117020" cy="11541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7869E81A-9090-4898-9463-B7E9B2D2303A}" type="slidenum">
              <a:rPr lang="en-US" sz="750" smtClean="0"/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/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827748" y="266445"/>
            <a:ext cx="8087863" cy="276999"/>
          </a:xfrm>
        </p:spPr>
        <p:txBody>
          <a:bodyPr/>
          <a:lstStyle>
            <a:lvl1pPr>
              <a:defRPr sz="1800">
                <a:latin typeface="Times New Roman" panose="02020603050405020304" pitchFamily="18" charset="0"/>
                <a:ea typeface="Arial Unicode MS" pitchFamily="34" charset="-128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 bwMode="auto">
          <a:xfrm>
            <a:off x="8785759" y="6620398"/>
            <a:ext cx="129844" cy="12695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E07156B-5ACE-443D-94B5-9177959396F5}" type="slidenum">
              <a:rPr lang="en-US" sz="825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2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7499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87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4" name="Object 87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30" descr="09647 USS ERP PPT Master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8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1. On-page tracker" hidden="1"/>
          <p:cNvSpPr>
            <a:spLocks noChangeArrowheads="1"/>
          </p:cNvSpPr>
          <p:nvPr/>
        </p:nvSpPr>
        <p:spPr bwMode="auto">
          <a:xfrm>
            <a:off x="829359" y="6479"/>
            <a:ext cx="458459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dirty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7" name="3. Unit of measure" hidden="1"/>
          <p:cNvSpPr txBox="1">
            <a:spLocks noChangeArrowheads="1"/>
          </p:cNvSpPr>
          <p:nvPr/>
        </p:nvSpPr>
        <p:spPr bwMode="auto">
          <a:xfrm>
            <a:off x="2387646" y="910305"/>
            <a:ext cx="5327656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Slide Elements" hidden="1"/>
          <p:cNvGrpSpPr>
            <a:grpSpLocks/>
          </p:cNvGrpSpPr>
          <p:nvPr/>
        </p:nvGrpSpPr>
        <p:grpSpPr bwMode="auto">
          <a:xfrm>
            <a:off x="218680" y="6413780"/>
            <a:ext cx="5518796" cy="332462"/>
            <a:chOff x="214043" y="6286320"/>
            <a:chExt cx="5408882" cy="325615"/>
          </a:xfrm>
        </p:grpSpPr>
        <p:sp>
          <p:nvSpPr>
            <p:cNvPr id="9" name="4. Footnote"/>
            <p:cNvSpPr txBox="1">
              <a:spLocks noChangeArrowheads="1"/>
            </p:cNvSpPr>
            <p:nvPr/>
          </p:nvSpPr>
          <p:spPr bwMode="auto">
            <a:xfrm>
              <a:off x="214043" y="6286320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dirty="0">
                  <a:solidFill>
                    <a:srgbClr val="003B6A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5. Source"/>
            <p:cNvSpPr>
              <a:spLocks noChangeArrowheads="1"/>
            </p:cNvSpPr>
            <p:nvPr/>
          </p:nvSpPr>
          <p:spPr bwMode="auto">
            <a:xfrm>
              <a:off x="214043" y="6498896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359006" indent="-359006" defTabSz="684056" fontAlgn="base">
                <a:spcBef>
                  <a:spcPct val="0"/>
                </a:spcBef>
                <a:spcAft>
                  <a:spcPct val="0"/>
                </a:spcAft>
                <a:tabLst>
                  <a:tab pos="360221" algn="l"/>
                </a:tabLst>
                <a:defRPr/>
              </a:pPr>
              <a:r>
                <a:rPr lang="en-US" sz="750" dirty="0">
                  <a:solidFill>
                    <a:srgbClr val="003B6A"/>
                  </a:solidFill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2376315" y="1924259"/>
            <a:ext cx="4391387" cy="387119"/>
            <a:chOff x="915" y="791"/>
            <a:chExt cx="2686" cy="239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003B6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4" name="Picture 31" descr="USS Circle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18679" y="171702"/>
            <a:ext cx="464894" cy="46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6187799" y="6637713"/>
            <a:ext cx="115736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69861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FFFFFF"/>
                </a:solidFill>
                <a:cs typeface="Arial" pitchFamily="34" charset="0"/>
              </a:rPr>
              <a:t>United States Steel Corporation</a:t>
            </a:r>
            <a:endParaRPr lang="en-US" sz="1200" dirty="0">
              <a:solidFill>
                <a:srgbClr val="003B6A"/>
              </a:solidFill>
              <a:cs typeface="Arial" pitchFamily="34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458" y="963750"/>
            <a:ext cx="644695" cy="1002643"/>
            <a:chOff x="4936" y="176"/>
            <a:chExt cx="398" cy="620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2204" y="963758"/>
            <a:ext cx="958945" cy="696491"/>
            <a:chOff x="4750" y="176"/>
            <a:chExt cx="592" cy="43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7070" y="963749"/>
            <a:ext cx="1088533" cy="215426"/>
            <a:chOff x="7673880" y="285750"/>
            <a:chExt cx="1066895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946910" y="285750"/>
              <a:ext cx="793865" cy="1638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8425" y="963749"/>
            <a:ext cx="711929" cy="1331430"/>
            <a:chOff x="6655594" y="273840"/>
            <a:chExt cx="697998" cy="1306519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9391"/>
              <a:ext cx="209550" cy="209551"/>
              <a:chOff x="1694" y="2045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5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1"/>
              <a:ext cx="209550" cy="208241"/>
              <a:chOff x="4495" y="1198"/>
              <a:chExt cx="160" cy="159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59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59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69498"/>
              <a:ext cx="209550" cy="210861"/>
              <a:chOff x="4495" y="1439"/>
              <a:chExt cx="160" cy="161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9"/>
                <a:ext cx="160" cy="161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6399" y="286556"/>
              <a:ext cx="377193" cy="1359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6399" y="561528"/>
              <a:ext cx="377193" cy="1359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6399" y="836501"/>
              <a:ext cx="377193" cy="1359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6399" y="1106706"/>
              <a:ext cx="377193" cy="1359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6399" y="1384857"/>
              <a:ext cx="377193" cy="1359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056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4"/>
              <a:ext cx="209550" cy="210861"/>
              <a:chOff x="4495" y="1198"/>
              <a:chExt cx="160" cy="161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1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</p:grpSp>
      <p:sp>
        <p:nvSpPr>
          <p:cNvPr id="57" name="TextBox 56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E9AF3C1-0273-49D0-AC51-A3233BCD8FC8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58" name="TextBox 57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23A08E6-55B5-4E3F-97BA-7BFD2FB7FF71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73280BD-9A6F-40E6-B0FF-0EAFAE306CD8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60" name="TextBox 59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C45D041-6B7E-4110-9F2B-87F4B2305C63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61" name="TextBox 60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FCB1D7B-0283-4E19-9CEB-73CA3F02811E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62" name="TextBox 61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8120AEE-3D6C-4A80-86C0-4DD5BA5D291B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63" name="TextBox 62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92B37B-891D-4EE4-8BCE-1A0C435D53BA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64" name="TextBox 63"/>
          <p:cNvSpPr txBox="1"/>
          <p:nvPr userDrawn="1"/>
        </p:nvSpPr>
        <p:spPr>
          <a:xfrm>
            <a:off x="8719610" y="6566446"/>
            <a:ext cx="213819" cy="155496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94627A6-632C-4FE1-8009-463121DD878A}" type="slidenum">
              <a:rPr lang="en-US" sz="750">
                <a:solidFill>
                  <a:srgbClr val="003B6A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50" dirty="0">
              <a:solidFill>
                <a:srgbClr val="003B6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19186"/>
            <a:ext cx="8229600" cy="25391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1"/>
            <a:ext cx="8229600" cy="184666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65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706142" y="6529192"/>
            <a:ext cx="2220802" cy="252680"/>
          </a:xfrm>
          <a:prstGeom prst="rect">
            <a:avLst/>
          </a:prstGeom>
        </p:spPr>
        <p:txBody>
          <a:bodyPr lIns="91286" tIns="45643" rIns="91286" bIns="45643"/>
          <a:lstStyle>
            <a:lvl1pPr>
              <a:defRPr sz="1200">
                <a:solidFill>
                  <a:srgbClr val="003B6A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751F04-F033-4E71-9B76-E0593DCE2BBE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/>
          </a:p>
        </p:txBody>
      </p:sp>
      <p:sp>
        <p:nvSpPr>
          <p:cNvPr id="66" name="Rectangle 286"/>
          <p:cNvSpPr txBox="1">
            <a:spLocks noChangeArrowheads="1"/>
          </p:cNvSpPr>
          <p:nvPr userDrawn="1"/>
        </p:nvSpPr>
        <p:spPr bwMode="auto">
          <a:xfrm>
            <a:off x="2870366" y="6662020"/>
            <a:ext cx="200215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3B6A"/>
              </a:buClr>
              <a:defRPr/>
            </a:pPr>
            <a:r>
              <a:rPr lang="en-US" sz="750" dirty="0">
                <a:solidFill>
                  <a:srgbClr val="808080"/>
                </a:solidFill>
              </a:rPr>
              <a:t>CONFIDENTIAL – NOT TO BE DISTRIBUTED</a:t>
            </a:r>
          </a:p>
        </p:txBody>
      </p: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8785759" y="6620398"/>
            <a:ext cx="129844" cy="12695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E07156B-5ACE-443D-94B5-9177959396F5}" type="slidenum">
              <a:rPr lang="en-US" sz="825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2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3650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8785759" y="6620398"/>
            <a:ext cx="129844" cy="12695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E07156B-5ACE-443D-94B5-9177959396F5}" type="slidenum">
              <a:rPr lang="en-US" sz="825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2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009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1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3" name="Object 31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0" descr="09647 USS ERP PPT Master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0" y="8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1. On-page tracker" hidden="1"/>
          <p:cNvSpPr>
            <a:spLocks noChangeArrowheads="1"/>
          </p:cNvSpPr>
          <p:nvPr/>
        </p:nvSpPr>
        <p:spPr bwMode="auto">
          <a:xfrm>
            <a:off x="827748" y="6479"/>
            <a:ext cx="458459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dirty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6" name="3. Unit of measure" hidden="1"/>
          <p:cNvSpPr txBox="1">
            <a:spLocks noChangeArrowheads="1"/>
          </p:cNvSpPr>
          <p:nvPr/>
        </p:nvSpPr>
        <p:spPr bwMode="auto">
          <a:xfrm>
            <a:off x="2387646" y="910305"/>
            <a:ext cx="5327656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7" name="Slide Elements" hidden="1"/>
          <p:cNvGrpSpPr>
            <a:grpSpLocks/>
          </p:cNvGrpSpPr>
          <p:nvPr/>
        </p:nvGrpSpPr>
        <p:grpSpPr bwMode="auto">
          <a:xfrm>
            <a:off x="218680" y="6413780"/>
            <a:ext cx="5518796" cy="332462"/>
            <a:chOff x="214043" y="6286320"/>
            <a:chExt cx="5408882" cy="325615"/>
          </a:xfrm>
        </p:grpSpPr>
        <p:sp>
          <p:nvSpPr>
            <p:cNvPr id="8" name="4. Footnote"/>
            <p:cNvSpPr txBox="1">
              <a:spLocks noChangeArrowheads="1"/>
            </p:cNvSpPr>
            <p:nvPr/>
          </p:nvSpPr>
          <p:spPr bwMode="auto">
            <a:xfrm>
              <a:off x="214043" y="6286320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dirty="0">
                  <a:solidFill>
                    <a:srgbClr val="003B6A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9" name="5. Source"/>
            <p:cNvSpPr>
              <a:spLocks noChangeArrowheads="1"/>
            </p:cNvSpPr>
            <p:nvPr/>
          </p:nvSpPr>
          <p:spPr bwMode="auto">
            <a:xfrm>
              <a:off x="214043" y="6498896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359044" indent="-359044" defTabSz="684128" fontAlgn="base">
                <a:spcBef>
                  <a:spcPct val="0"/>
                </a:spcBef>
                <a:spcAft>
                  <a:spcPct val="0"/>
                </a:spcAft>
                <a:tabLst>
                  <a:tab pos="360259" algn="l"/>
                </a:tabLst>
                <a:defRPr/>
              </a:pPr>
              <a:r>
                <a:rPr lang="en-US" sz="750" dirty="0">
                  <a:solidFill>
                    <a:srgbClr val="003B6A"/>
                  </a:solidFill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2377926" y="1924259"/>
            <a:ext cx="4389768" cy="387119"/>
            <a:chOff x="915" y="791"/>
            <a:chExt cx="2686" cy="239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003B6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3" name="Picture 31" descr="USS Circle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18680" y="171702"/>
            <a:ext cx="466514" cy="46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6187799" y="6637713"/>
            <a:ext cx="115736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6986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FFFFFF"/>
                </a:solidFill>
                <a:cs typeface="Arial" pitchFamily="34" charset="0"/>
              </a:rPr>
              <a:t>United States Steel Corporation</a:t>
            </a:r>
            <a:endParaRPr lang="en-US" sz="1350" dirty="0">
              <a:solidFill>
                <a:srgbClr val="003B6A"/>
              </a:solidFill>
              <a:cs typeface="Arial" pitchFamily="34" charset="0"/>
            </a:endParaRPr>
          </a:p>
        </p:txBody>
      </p:sp>
      <p:grpSp>
        <p:nvGrpSpPr>
          <p:cNvPr id="15" name="LegendBoxes" hidden="1"/>
          <p:cNvGrpSpPr>
            <a:grpSpLocks/>
          </p:cNvGrpSpPr>
          <p:nvPr/>
        </p:nvGrpSpPr>
        <p:grpSpPr bwMode="auto">
          <a:xfrm>
            <a:off x="8136458" y="962129"/>
            <a:ext cx="644695" cy="1004243"/>
            <a:chOff x="4936" y="176"/>
            <a:chExt cx="398" cy="620"/>
          </a:xfrm>
        </p:grpSpPr>
        <p:sp>
          <p:nvSpPr>
            <p:cNvPr id="1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1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1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1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</p:grpSp>
      <p:grpSp>
        <p:nvGrpSpPr>
          <p:cNvPr id="24" name="LegendLines" hidden="1"/>
          <p:cNvGrpSpPr>
            <a:grpSpLocks/>
          </p:cNvGrpSpPr>
          <p:nvPr/>
        </p:nvGrpSpPr>
        <p:grpSpPr bwMode="auto">
          <a:xfrm>
            <a:off x="7822204" y="962130"/>
            <a:ext cx="958945" cy="696491"/>
            <a:chOff x="4750" y="176"/>
            <a:chExt cx="592" cy="430"/>
          </a:xfrm>
        </p:grpSpPr>
        <p:sp>
          <p:nvSpPr>
            <p:cNvPr id="2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</p:grpSp>
      <p:grpSp>
        <p:nvGrpSpPr>
          <p:cNvPr id="31" name="McKSticker" hidden="1"/>
          <p:cNvGrpSpPr>
            <a:grpSpLocks/>
          </p:cNvGrpSpPr>
          <p:nvPr/>
        </p:nvGrpSpPr>
        <p:grpSpPr bwMode="auto">
          <a:xfrm>
            <a:off x="7827070" y="962134"/>
            <a:ext cx="1088533" cy="217046"/>
            <a:chOff x="7673880" y="285750"/>
            <a:chExt cx="1066895" cy="212366"/>
          </a:xfrm>
        </p:grpSpPr>
        <p:sp>
          <p:nvSpPr>
            <p:cNvPr id="32" name="StickerRectangle"/>
            <p:cNvSpPr>
              <a:spLocks noChangeArrowheads="1"/>
            </p:cNvSpPr>
            <p:nvPr/>
          </p:nvSpPr>
          <p:spPr bwMode="auto">
            <a:xfrm>
              <a:off x="7946910" y="285750"/>
              <a:ext cx="793865" cy="1626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3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34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35" name="LegendMoons" hidden="1"/>
          <p:cNvGrpSpPr>
            <a:grpSpLocks/>
          </p:cNvGrpSpPr>
          <p:nvPr/>
        </p:nvGrpSpPr>
        <p:grpSpPr bwMode="auto">
          <a:xfrm>
            <a:off x="8068423" y="962138"/>
            <a:ext cx="711929" cy="1333051"/>
            <a:chOff x="6655594" y="273840"/>
            <a:chExt cx="697856" cy="1306516"/>
          </a:xfrm>
        </p:grpSpPr>
        <p:grpSp>
          <p:nvGrpSpPr>
            <p:cNvPr id="36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4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5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7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8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39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6976334" y="28654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1" name="Legend2"/>
            <p:cNvSpPr>
              <a:spLocks noChangeArrowheads="1"/>
            </p:cNvSpPr>
            <p:nvPr/>
          </p:nvSpPr>
          <p:spPr bwMode="auto">
            <a:xfrm>
              <a:off x="6976334" y="561179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2" name="Legend3"/>
            <p:cNvSpPr>
              <a:spLocks noChangeArrowheads="1"/>
            </p:cNvSpPr>
            <p:nvPr/>
          </p:nvSpPr>
          <p:spPr bwMode="auto">
            <a:xfrm>
              <a:off x="6976334" y="835816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3" name="Legend4"/>
            <p:cNvSpPr>
              <a:spLocks noChangeArrowheads="1"/>
            </p:cNvSpPr>
            <p:nvPr/>
          </p:nvSpPr>
          <p:spPr bwMode="auto">
            <a:xfrm>
              <a:off x="6976334" y="110728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4" name="Legend5"/>
            <p:cNvSpPr>
              <a:spLocks noChangeArrowheads="1"/>
            </p:cNvSpPr>
            <p:nvPr/>
          </p:nvSpPr>
          <p:spPr bwMode="auto">
            <a:xfrm>
              <a:off x="6976334" y="1383506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grpSp>
          <p:nvGrpSpPr>
            <p:cNvPr id="45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</p:grpSp>
      <p:sp>
        <p:nvSpPr>
          <p:cNvPr id="56" name="Rectangle 286"/>
          <p:cNvSpPr txBox="1">
            <a:spLocks noChangeArrowheads="1"/>
          </p:cNvSpPr>
          <p:nvPr userDrawn="1"/>
        </p:nvSpPr>
        <p:spPr bwMode="auto">
          <a:xfrm>
            <a:off x="2870366" y="6662020"/>
            <a:ext cx="200215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3B6A"/>
              </a:buClr>
              <a:defRPr/>
            </a:pPr>
            <a:r>
              <a:rPr lang="en-US" sz="750" dirty="0">
                <a:solidFill>
                  <a:srgbClr val="808080"/>
                </a:solidFill>
              </a:rPr>
              <a:t>CONFIDENTIAL – NOT TO BE DISTRIBUTED</a:t>
            </a:r>
          </a:p>
        </p:txBody>
      </p: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785759" y="6620398"/>
            <a:ext cx="129844" cy="12695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E07156B-5ACE-443D-94B5-9177959396F5}" type="slidenum">
              <a:rPr lang="en-US" sz="825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25" dirty="0">
              <a:solidFill>
                <a:srgbClr val="FFFFFF"/>
              </a:solidFill>
            </a:endParaRPr>
          </a:p>
        </p:txBody>
      </p:sp>
      <p:pic>
        <p:nvPicPr>
          <p:cNvPr id="58" name="Picture 31" descr="USS Circle"/>
          <p:cNvPicPr>
            <a:picLocks noChangeAspect="1" noChangeArrowheads="1"/>
          </p:cNvPicPr>
          <p:nvPr userDrawn="1"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18680" y="171702"/>
            <a:ext cx="466514" cy="46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853810" y="266457"/>
            <a:ext cx="8061794" cy="276999"/>
          </a:xfrm>
        </p:spPr>
        <p:txBody>
          <a:bodyPr/>
          <a:lstStyle>
            <a:lvl1pPr>
              <a:defRPr sz="1800">
                <a:latin typeface="Times New Roman" pitchFamily="18" charset="0"/>
                <a:ea typeface="Arial Unicode MS" pitchFamily="34" charset="-128"/>
                <a:cs typeface="Times New Roman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38811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671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D95DCC-FF7F-4613-BC73-5316520083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6542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69BD22-B479-441D-809B-A4E56EBBB1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7652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CD722B-AA82-42D6-A5F5-956018ADD36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9924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F8EC73-0423-457F-AFC1-D4E844D64A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152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941871-439A-43EF-A3F4-F45779B594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5627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EE742B-3C1D-457F-B268-D256CB7E7C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47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43F774-B04D-4DBB-82A9-4F920DAA50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103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22.xml"/><Relationship Id="rId7" Type="http://schemas.openxmlformats.org/officeDocument/2006/relationships/theme" Target="../theme/theme3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image" Target="../media/image6.jpeg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9DFD47-7FF1-44CE-A1AE-48A861B94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8288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9DFD47-7FF1-44CE-A1AE-48A861B94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30" descr="09647 USS ERP PPT Master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ext Box 5"/>
          <p:cNvSpPr txBox="1">
            <a:spLocks noChangeArrowheads="1"/>
          </p:cNvSpPr>
          <p:nvPr/>
        </p:nvSpPr>
        <p:spPr bwMode="gray">
          <a:xfrm>
            <a:off x="84138" y="6430963"/>
            <a:ext cx="279400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>
              <a:lnSpc>
                <a:spcPct val="80000"/>
              </a:lnSpc>
              <a:spcBef>
                <a:spcPct val="50000"/>
              </a:spcBef>
            </a:pPr>
            <a:endParaRPr lang="en-US" sz="800" baseline="0" dirty="0"/>
          </a:p>
        </p:txBody>
      </p:sp>
      <p:sp>
        <p:nvSpPr>
          <p:cNvPr id="1028" name="Text Box 7"/>
          <p:cNvSpPr txBox="1">
            <a:spLocks noChangeArrowheads="1"/>
          </p:cNvSpPr>
          <p:nvPr/>
        </p:nvSpPr>
        <p:spPr bwMode="gray">
          <a:xfrm>
            <a:off x="6415088" y="0"/>
            <a:ext cx="2728912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Ctr="1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endParaRPr lang="en-US" sz="800" baseline="0" dirty="0"/>
          </a:p>
        </p:txBody>
      </p:sp>
      <p:sp>
        <p:nvSpPr>
          <p:cNvPr id="1029" name="AcnSubjectTitle_ID_214028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298700" y="1420813"/>
            <a:ext cx="69850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buClr>
                <a:schemeClr val="tx1"/>
              </a:buClr>
            </a:pPr>
            <a:r>
              <a:rPr lang="en-US" sz="1600" b="1" baseline="0" dirty="0"/>
              <a:t>Subject Title</a:t>
            </a:r>
          </a:p>
        </p:txBody>
      </p:sp>
      <p:sp>
        <p:nvSpPr>
          <p:cNvPr id="1030" name="AcnFootnote_ID_214029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286000" y="6248400"/>
            <a:ext cx="65278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538163" indent="-538163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400" baseline="-250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 baseline="-25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buClr>
                <a:schemeClr val="tx1"/>
              </a:buClr>
            </a:pPr>
            <a:r>
              <a:rPr lang="en-US" sz="1000" baseline="0" dirty="0"/>
              <a:t>*	Footnote</a:t>
            </a:r>
          </a:p>
          <a:p>
            <a:pPr algn="l" eaLnBrk="1" hangingPunct="1">
              <a:spcBef>
                <a:spcPct val="20000"/>
              </a:spcBef>
              <a:buClr>
                <a:schemeClr val="tx1"/>
              </a:buClr>
            </a:pPr>
            <a:r>
              <a:rPr lang="en-US" sz="1000" baseline="0" dirty="0"/>
              <a:t>Source:	Source</a:t>
            </a:r>
          </a:p>
        </p:txBody>
      </p:sp>
      <p:sp>
        <p:nvSpPr>
          <p:cNvPr id="1031" name="AcnStamp_ID_214030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7404100" y="1411288"/>
            <a:ext cx="1422400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25400" rIns="0" bIns="25400">
            <a:spAutoFit/>
          </a:bodyPr>
          <a:lstStyle/>
          <a:p>
            <a:r>
              <a:rPr lang="en-US" sz="1400" b="1" baseline="0" dirty="0"/>
              <a:t>MASTER STAMP</a:t>
            </a:r>
          </a:p>
        </p:txBody>
      </p:sp>
      <p:cxnSp>
        <p:nvCxnSpPr>
          <p:cNvPr id="1032" name="AcnStpConnector_ID_214031" hidden="1"/>
          <p:cNvCxnSpPr>
            <a:cxnSpLocks noChangeShapeType="1"/>
            <a:stCxn id="1031" idx="2"/>
            <a:endCxn id="1031" idx="0"/>
          </p:cNvCxnSpPr>
          <p:nvPr>
            <p:custDataLst>
              <p:tags r:id="rId18"/>
            </p:custDataLst>
          </p:nvPr>
        </p:nvCxnSpPr>
        <p:spPr bwMode="gray">
          <a:xfrm>
            <a:off x="7404100" y="1411288"/>
            <a:ext cx="142240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33" name="AcnStpConnector_ID_214032" hidden="1"/>
          <p:cNvCxnSpPr>
            <a:cxnSpLocks noChangeShapeType="1"/>
            <a:stCxn id="1031" idx="4"/>
            <a:endCxn id="1031" idx="6"/>
          </p:cNvCxnSpPr>
          <p:nvPr>
            <p:custDataLst>
              <p:tags r:id="rId19"/>
            </p:custDataLst>
          </p:nvPr>
        </p:nvCxnSpPr>
        <p:spPr bwMode="gray">
          <a:xfrm>
            <a:off x="7404100" y="1674813"/>
            <a:ext cx="1422400" cy="0"/>
          </a:xfrm>
          <a:prstGeom prst="straightConnector1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4024" name="Rectangle 8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6705600" y="6529388"/>
            <a:ext cx="2220913" cy="2524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80000"/>
              </a:lnSpc>
              <a:defRPr sz="800" baseline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FA1CA02-AD2E-4F6F-A9C9-7654A569423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35" name="Picture 31" descr="USS Circle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20663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marL="58738" indent="-58738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marL="58738" indent="-58738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marL="58738" indent="-58738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marL="58738" indent="-58738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marL="58738" indent="-58738" algn="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515938" algn="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73138" algn="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430338" algn="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87538" algn="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36538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7375" indent="-2365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2pPr>
      <a:lvl3pPr marL="930275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3pPr>
      <a:lvl4pPr marL="1273175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616075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5pPr>
      <a:lvl6pPr marL="20732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6pPr>
      <a:lvl7pPr marL="25304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7pPr>
      <a:lvl8pPr marL="29876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8pPr>
      <a:lvl9pPr marL="3444875" indent="-228600" algn="l" rtl="0" fontAlgn="base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B7A3F5-BEA8-4B7D-96D7-79B3DF2F68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25725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B7A3F5-BEA8-4B7D-96D7-79B3DF2F6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AB4E18-A8ED-4C3A-89C8-395CEF1B724E}"/>
              </a:ext>
            </a:extLst>
          </p:cNvPr>
          <p:cNvSpPr/>
          <p:nvPr userDrawn="1"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35300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aseline="0">
                <a:latin typeface="Times New Roman" pitchFamily="18" charset="0"/>
              </a:defRPr>
            </a:lvl1pPr>
          </a:lstStyle>
          <a:p>
            <a:pPr>
              <a:defRPr/>
            </a:pPr>
            <a:fld id="{04E4434F-1A1A-4BAF-85E0-D416B483E4C6}" type="datetime1">
              <a:rPr lang="en-US"/>
              <a:pPr>
                <a:defRPr/>
              </a:pPr>
              <a:t>5/5/2021</a:t>
            </a:fld>
            <a:endParaRPr lang="en-US" dirty="0"/>
          </a:p>
        </p:txBody>
      </p:sp>
      <p:sp>
        <p:nvSpPr>
          <p:cNvPr id="1335301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aseline="0">
                <a:latin typeface="Times New Roman" pitchFamily="18" charset="0"/>
              </a:defRPr>
            </a:lvl1pPr>
          </a:lstStyle>
          <a:p>
            <a:pPr>
              <a:defRPr/>
            </a:pPr>
            <a:r>
              <a:rPr lang="en-US" dirty="0"/>
              <a:t>©2004 Accenture. All Rights Reserved.</a:t>
            </a:r>
          </a:p>
        </p:txBody>
      </p:sp>
      <p:sp>
        <p:nvSpPr>
          <p:cNvPr id="133530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aseline="0">
                <a:latin typeface="Times New Roman" pitchFamily="18" charset="0"/>
              </a:defRPr>
            </a:lvl1pPr>
          </a:lstStyle>
          <a:p>
            <a:pPr>
              <a:defRPr/>
            </a:pPr>
            <a:fld id="{01D4C237-5B21-4CCE-BD2B-B0F89A8AC5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b="1" i="1">
          <a:solidFill>
            <a:srgbClr val="003A69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400" b="1" i="1">
          <a:solidFill>
            <a:srgbClr val="003A69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200" b="1" i="1">
          <a:solidFill>
            <a:srgbClr val="003A69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000" b="1" i="1">
          <a:solidFill>
            <a:srgbClr val="003A69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800" b="1" i="1">
          <a:solidFill>
            <a:srgbClr val="003A69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800" b="1" i="1">
          <a:solidFill>
            <a:srgbClr val="003A69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800" b="1" i="1">
          <a:solidFill>
            <a:srgbClr val="003A69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800" b="1" i="1">
          <a:solidFill>
            <a:srgbClr val="003A69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800" b="1" i="1">
          <a:solidFill>
            <a:srgbClr val="003A6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12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11171346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1026" name="Object 31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A6220CDC-22DF-4AD2-A568-6B429A6DC90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650" b="0" i="0" baseline="0" dirty="0">
              <a:solidFill>
                <a:schemeClr val="tx1"/>
              </a:solidFill>
              <a:latin typeface="Arial" panose="020B0604020202020204" pitchFamily="34" charset="0"/>
              <a:ea typeface="Arial Unicode MS" panose="020B0604020202020204"/>
              <a:sym typeface="Arial" panose="020B0604020202020204" pitchFamily="34" charset="0"/>
            </a:endParaRPr>
          </a:p>
        </p:txBody>
      </p:sp>
      <p:pic>
        <p:nvPicPr>
          <p:cNvPr id="1028" name="Picture 30" descr="09647 USS ERP PPT Master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0" y="8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926" y="2374556"/>
            <a:ext cx="438976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Text</a:t>
            </a:r>
          </a:p>
        </p:txBody>
      </p:sp>
      <p:sp>
        <p:nvSpPr>
          <p:cNvPr id="1030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27748" y="277988"/>
            <a:ext cx="8087863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827748" y="6479"/>
            <a:ext cx="458459" cy="11541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50" dirty="0">
                <a:solidFill>
                  <a:srgbClr val="FFFFFF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87646" y="910305"/>
            <a:ext cx="5327656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2" name="Slide Elements" hidden="1"/>
          <p:cNvGrpSpPr>
            <a:grpSpLocks/>
          </p:cNvGrpSpPr>
          <p:nvPr/>
        </p:nvGrpSpPr>
        <p:grpSpPr bwMode="auto">
          <a:xfrm>
            <a:off x="218680" y="6413780"/>
            <a:ext cx="5518796" cy="332462"/>
            <a:chOff x="214043" y="6286320"/>
            <a:chExt cx="5408882" cy="32561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214043" y="6286320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dirty="0">
                  <a:solidFill>
                    <a:srgbClr val="003B6A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214043" y="6498896"/>
              <a:ext cx="5408882" cy="1130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359044" indent="-359044" defTabSz="684128" fontAlgn="base">
                <a:spcBef>
                  <a:spcPct val="0"/>
                </a:spcBef>
                <a:spcAft>
                  <a:spcPct val="0"/>
                </a:spcAft>
                <a:tabLst>
                  <a:tab pos="360259" algn="l"/>
                </a:tabLst>
                <a:defRPr/>
              </a:pPr>
              <a:r>
                <a:rPr lang="en-US" sz="750" dirty="0">
                  <a:solidFill>
                    <a:srgbClr val="003B6A"/>
                  </a:solidFill>
                </a:rPr>
                <a:t>Source: Source</a:t>
              </a:r>
            </a:p>
          </p:txBody>
        </p:sp>
      </p:grpSp>
      <p:grpSp>
        <p:nvGrpSpPr>
          <p:cNvPr id="3" name="ACET" hidden="1"/>
          <p:cNvGrpSpPr>
            <a:grpSpLocks/>
          </p:cNvGrpSpPr>
          <p:nvPr/>
        </p:nvGrpSpPr>
        <p:grpSpPr bwMode="auto">
          <a:xfrm>
            <a:off x="2377926" y="1924259"/>
            <a:ext cx="4389768" cy="387119"/>
            <a:chOff x="915" y="791"/>
            <a:chExt cx="2686" cy="239"/>
          </a:xfrm>
        </p:grpSpPr>
        <p:cxnSp>
          <p:nvCxnSpPr>
            <p:cNvPr id="107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dirty="0">
                  <a:solidFill>
                    <a:srgbClr val="003B6A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035" name="Picture 31" descr="USS Circle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18680" y="171702"/>
            <a:ext cx="466514" cy="466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Text Box 9"/>
          <p:cNvSpPr txBox="1">
            <a:spLocks noChangeArrowheads="1"/>
          </p:cNvSpPr>
          <p:nvPr/>
        </p:nvSpPr>
        <p:spPr bwMode="auto">
          <a:xfrm>
            <a:off x="6187799" y="6637713"/>
            <a:ext cx="1157368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defTabSz="6986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b="1" dirty="0">
                <a:solidFill>
                  <a:srgbClr val="FFFFFF"/>
                </a:solidFill>
                <a:cs typeface="Arial" pitchFamily="34" charset="0"/>
              </a:rPr>
              <a:t>United States Steel Corporation</a:t>
            </a:r>
            <a:endParaRPr lang="en-US" sz="1350" dirty="0">
              <a:solidFill>
                <a:srgbClr val="003B6A"/>
              </a:solidFill>
              <a:cs typeface="Arial" pitchFamily="34" charset="0"/>
            </a:endParaRPr>
          </a:p>
        </p:txBody>
      </p:sp>
      <p:grpSp>
        <p:nvGrpSpPr>
          <p:cNvPr id="4" name="LegendBoxes" hidden="1"/>
          <p:cNvGrpSpPr>
            <a:grpSpLocks/>
          </p:cNvGrpSpPr>
          <p:nvPr/>
        </p:nvGrpSpPr>
        <p:grpSpPr bwMode="auto">
          <a:xfrm>
            <a:off x="8136458" y="962129"/>
            <a:ext cx="644695" cy="1004243"/>
            <a:chOff x="4936" y="176"/>
            <a:chExt cx="398" cy="620"/>
          </a:xfrm>
        </p:grpSpPr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0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2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4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35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36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</p:grpSp>
      <p:grpSp>
        <p:nvGrpSpPr>
          <p:cNvPr id="5" name="LegendLines" hidden="1"/>
          <p:cNvGrpSpPr>
            <a:grpSpLocks/>
          </p:cNvGrpSpPr>
          <p:nvPr/>
        </p:nvGrpSpPr>
        <p:grpSpPr bwMode="auto">
          <a:xfrm>
            <a:off x="7822204" y="962130"/>
            <a:ext cx="958945" cy="696491"/>
            <a:chOff x="4750" y="176"/>
            <a:chExt cx="592" cy="430"/>
          </a:xfrm>
        </p:grpSpPr>
        <p:sp>
          <p:nvSpPr>
            <p:cNvPr id="3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3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4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900" dirty="0">
                <a:solidFill>
                  <a:srgbClr val="003B6A"/>
                </a:solidFill>
              </a:endParaRPr>
            </a:p>
          </p:txBody>
        </p: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8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</p:grpSp>
      <p:grpSp>
        <p:nvGrpSpPr>
          <p:cNvPr id="6" name="McKSticker" hidden="1"/>
          <p:cNvGrpSpPr>
            <a:grpSpLocks/>
          </p:cNvGrpSpPr>
          <p:nvPr/>
        </p:nvGrpSpPr>
        <p:grpSpPr bwMode="auto">
          <a:xfrm>
            <a:off x="8105636" y="962136"/>
            <a:ext cx="809966" cy="166199"/>
            <a:chOff x="7946910" y="285750"/>
            <a:chExt cx="793865" cy="162615"/>
          </a:xfrm>
        </p:grpSpPr>
        <p:sp>
          <p:nvSpPr>
            <p:cNvPr id="45" name="StickerRectangle"/>
            <p:cNvSpPr>
              <a:spLocks noChangeArrowheads="1"/>
            </p:cNvSpPr>
            <p:nvPr/>
          </p:nvSpPr>
          <p:spPr bwMode="auto">
            <a:xfrm>
              <a:off x="7946910" y="285750"/>
              <a:ext cx="793865" cy="1626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wrap="none" lIns="27432" tIns="0" rIns="0" bIns="27432">
              <a:spAutoFit/>
            </a:bodyPr>
            <a:lstStyle/>
            <a:p>
              <a:pPr algn="r"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3" name="AutoShape 31"/>
            <p:cNvCxnSpPr>
              <a:cxnSpLocks noChangeShapeType="1"/>
              <a:stCxn id="45" idx="2"/>
              <a:endCxn id="45" idx="4"/>
            </p:cNvCxnSpPr>
            <p:nvPr/>
          </p:nvCxnSpPr>
          <p:spPr bwMode="auto">
            <a:xfrm>
              <a:off x="7946910" y="285750"/>
              <a:ext cx="0" cy="16261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064" name="AutoShape 32"/>
            <p:cNvCxnSpPr>
              <a:cxnSpLocks noChangeShapeType="1"/>
              <a:stCxn id="45" idx="4"/>
              <a:endCxn id="45" idx="6"/>
            </p:cNvCxnSpPr>
            <p:nvPr/>
          </p:nvCxnSpPr>
          <p:spPr bwMode="auto">
            <a:xfrm>
              <a:off x="7946910" y="448365"/>
              <a:ext cx="7938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7" name="LegendMoons" hidden="1"/>
          <p:cNvGrpSpPr>
            <a:grpSpLocks/>
          </p:cNvGrpSpPr>
          <p:nvPr/>
        </p:nvGrpSpPr>
        <p:grpSpPr bwMode="auto">
          <a:xfrm>
            <a:off x="8068423" y="962138"/>
            <a:ext cx="711929" cy="1333051"/>
            <a:chOff x="6655594" y="273840"/>
            <a:chExt cx="697856" cy="1306516"/>
          </a:xfrm>
        </p:grpSpPr>
        <p:grpSp>
          <p:nvGrpSpPr>
            <p:cNvPr id="8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7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68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9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5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66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1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3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64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grpSp>
          <p:nvGrpSpPr>
            <p:cNvPr id="15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1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62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  <p:sp>
          <p:nvSpPr>
            <p:cNvPr id="53" name="Legend1"/>
            <p:cNvSpPr>
              <a:spLocks noChangeArrowheads="1"/>
            </p:cNvSpPr>
            <p:nvPr/>
          </p:nvSpPr>
          <p:spPr bwMode="auto">
            <a:xfrm>
              <a:off x="6976334" y="28654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54" name="Legend2"/>
            <p:cNvSpPr>
              <a:spLocks noChangeArrowheads="1"/>
            </p:cNvSpPr>
            <p:nvPr/>
          </p:nvSpPr>
          <p:spPr bwMode="auto">
            <a:xfrm>
              <a:off x="6976334" y="561179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55" name="Legend3"/>
            <p:cNvSpPr>
              <a:spLocks noChangeArrowheads="1"/>
            </p:cNvSpPr>
            <p:nvPr/>
          </p:nvSpPr>
          <p:spPr bwMode="auto">
            <a:xfrm>
              <a:off x="6976334" y="835816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56" name="Legend4"/>
            <p:cNvSpPr>
              <a:spLocks noChangeArrowheads="1"/>
            </p:cNvSpPr>
            <p:nvPr/>
          </p:nvSpPr>
          <p:spPr bwMode="auto">
            <a:xfrm>
              <a:off x="6976334" y="1107280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sp>
          <p:nvSpPr>
            <p:cNvPr id="57" name="Legend5"/>
            <p:cNvSpPr>
              <a:spLocks noChangeArrowheads="1"/>
            </p:cNvSpPr>
            <p:nvPr/>
          </p:nvSpPr>
          <p:spPr bwMode="auto">
            <a:xfrm>
              <a:off x="6976334" y="1383506"/>
              <a:ext cx="377116" cy="1357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684128" fontAlgn="base">
                <a:spcBef>
                  <a:spcPct val="0"/>
                </a:spcBef>
                <a:spcAft>
                  <a:spcPct val="0"/>
                </a:spcAft>
                <a:buClr>
                  <a:srgbClr val="003B6A"/>
                </a:buClr>
                <a:defRPr/>
              </a:pPr>
              <a:r>
                <a:rPr lang="en-US" sz="900" dirty="0">
                  <a:solidFill>
                    <a:srgbClr val="003B6A"/>
                  </a:solidFill>
                </a:rPr>
                <a:t>Legend</a:t>
              </a:r>
            </a:p>
          </p:txBody>
        </p:sp>
        <p:grpSp>
          <p:nvGrpSpPr>
            <p:cNvPr id="16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900" dirty="0">
                  <a:solidFill>
                    <a:srgbClr val="003B6A"/>
                  </a:solidFill>
                </a:endParaRPr>
              </a:p>
            </p:txBody>
          </p:sp>
        </p:grpSp>
      </p:grpSp>
      <p:sp>
        <p:nvSpPr>
          <p:cNvPr id="70" name="Rectangle 286"/>
          <p:cNvSpPr txBox="1">
            <a:spLocks noChangeArrowheads="1"/>
          </p:cNvSpPr>
          <p:nvPr userDrawn="1"/>
        </p:nvSpPr>
        <p:spPr bwMode="auto">
          <a:xfrm>
            <a:off x="2870366" y="6662020"/>
            <a:ext cx="2002151" cy="115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3B6A"/>
              </a:buClr>
              <a:defRPr/>
            </a:pPr>
            <a:r>
              <a:rPr lang="en-US" sz="750" dirty="0">
                <a:solidFill>
                  <a:srgbClr val="808080"/>
                </a:solidFill>
              </a:rPr>
              <a:t>CONFIDENTIAL – NOT TO BE DISTRIBUTED</a:t>
            </a:r>
          </a:p>
        </p:txBody>
      </p:sp>
      <p:sp>
        <p:nvSpPr>
          <p:cNvPr id="58" name="Slide Number"/>
          <p:cNvSpPr txBox="1">
            <a:spLocks/>
          </p:cNvSpPr>
          <p:nvPr userDrawn="1"/>
        </p:nvSpPr>
        <p:spPr bwMode="auto">
          <a:xfrm>
            <a:off x="8785759" y="6620398"/>
            <a:ext cx="129844" cy="12695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0E07156B-5ACE-443D-94B5-9177959396F5}" type="slidenum">
              <a:rPr lang="en-US" sz="825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2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07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</p:sldLayoutIdLst>
  <p:hf hdr="0" ftr="0" dt="0"/>
  <p:txStyles>
    <p:titleStyle>
      <a:lvl1pPr algn="l" defTabSz="680993" rtl="0" eaLnBrk="0" fontAlgn="base" hangingPunct="0">
        <a:spcBef>
          <a:spcPct val="0"/>
        </a:spcBef>
        <a:spcAft>
          <a:spcPct val="0"/>
        </a:spcAft>
        <a:tabLst>
          <a:tab pos="202721" algn="l"/>
        </a:tabLst>
        <a:defRPr sz="1650">
          <a:solidFill>
            <a:schemeClr val="bg1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0993" rtl="0" eaLnBrk="0" fontAlgn="base" hangingPunct="0">
        <a:spcBef>
          <a:spcPct val="0"/>
        </a:spcBef>
        <a:spcAft>
          <a:spcPct val="0"/>
        </a:spcAft>
        <a:tabLst>
          <a:tab pos="202721" algn="l"/>
        </a:tabLst>
        <a:defRPr sz="1650">
          <a:solidFill>
            <a:schemeClr val="bg1"/>
          </a:solidFill>
          <a:latin typeface="Arial" charset="0"/>
          <a:ea typeface="Arial Unicode MS" pitchFamily="34" charset="-128"/>
          <a:cs typeface="Arial Unicode MS" pitchFamily="34" charset="-128"/>
        </a:defRPr>
      </a:lvl2pPr>
      <a:lvl3pPr algn="l" defTabSz="680993" rtl="0" eaLnBrk="0" fontAlgn="base" hangingPunct="0">
        <a:spcBef>
          <a:spcPct val="0"/>
        </a:spcBef>
        <a:spcAft>
          <a:spcPct val="0"/>
        </a:spcAft>
        <a:tabLst>
          <a:tab pos="202721" algn="l"/>
        </a:tabLst>
        <a:defRPr sz="1650">
          <a:solidFill>
            <a:schemeClr val="bg1"/>
          </a:solidFill>
          <a:latin typeface="Arial" charset="0"/>
          <a:ea typeface="Arial Unicode MS" pitchFamily="34" charset="-128"/>
          <a:cs typeface="Arial Unicode MS" pitchFamily="34" charset="-128"/>
        </a:defRPr>
      </a:lvl3pPr>
      <a:lvl4pPr algn="l" defTabSz="680993" rtl="0" eaLnBrk="0" fontAlgn="base" hangingPunct="0">
        <a:spcBef>
          <a:spcPct val="0"/>
        </a:spcBef>
        <a:spcAft>
          <a:spcPct val="0"/>
        </a:spcAft>
        <a:tabLst>
          <a:tab pos="202721" algn="l"/>
        </a:tabLst>
        <a:defRPr sz="1650">
          <a:solidFill>
            <a:schemeClr val="bg1"/>
          </a:solidFill>
          <a:latin typeface="Arial" charset="0"/>
          <a:ea typeface="Arial Unicode MS" pitchFamily="34" charset="-128"/>
          <a:cs typeface="Arial Unicode MS" pitchFamily="34" charset="-128"/>
        </a:defRPr>
      </a:lvl4pPr>
      <a:lvl5pPr algn="l" defTabSz="680993" rtl="0" eaLnBrk="0" fontAlgn="base" hangingPunct="0">
        <a:spcBef>
          <a:spcPct val="0"/>
        </a:spcBef>
        <a:spcAft>
          <a:spcPct val="0"/>
        </a:spcAft>
        <a:tabLst>
          <a:tab pos="202721" algn="l"/>
        </a:tabLst>
        <a:defRPr sz="1650">
          <a:solidFill>
            <a:schemeClr val="bg1"/>
          </a:solidFill>
          <a:latin typeface="Arial" charset="0"/>
          <a:ea typeface="Arial Unicode MS" pitchFamily="34" charset="-128"/>
          <a:cs typeface="Arial Unicode MS" pitchFamily="34" charset="-128"/>
        </a:defRPr>
      </a:lvl5pPr>
      <a:lvl6pPr marL="349336" algn="l" defTabSz="684128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8686" algn="l" defTabSz="684128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8028" algn="l" defTabSz="684128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7366" algn="l" defTabSz="684128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259773" indent="-259773" algn="l" defTabSz="68099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4454" indent="-143239" algn="l" defTabSz="68099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5961" indent="-196651" algn="l" defTabSz="68099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66136" indent="-115321" algn="l" defTabSz="68099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0530" indent="-95898" algn="l" defTabSz="68099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2921" indent="-99465" algn="l" defTabSz="684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2921" indent="-99465" algn="l" defTabSz="684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2921" indent="-99465" algn="l" defTabSz="684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2921" indent="-99465" algn="l" defTabSz="684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336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8686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8028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7366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6710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6051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5394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4736" algn="l" defTabSz="6986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78.xml"/><Relationship Id="rId7" Type="http://schemas.openxmlformats.org/officeDocument/2006/relationships/image" Target="../media/image9.emf"/><Relationship Id="rId2" Type="http://schemas.openxmlformats.org/officeDocument/2006/relationships/tags" Target="../tags/tag77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74A1C4E-0348-47AD-9BC8-E31A8D6734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74A1C4E-0348-47AD-9BC8-E31A8D6734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34683A2-3120-492B-A74C-A6D5E4CE45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3B6A"/>
              </a:solidFill>
              <a:effectLst/>
              <a:uLnTx/>
              <a:uFillTx/>
              <a:latin typeface="Times New Roman" panose="02020603050405020304" pitchFamily="18" charset="0"/>
              <a:ea typeface="Arial Unicode MS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6E2ACF2-ED2B-4BC7-919A-4BB2BBE03E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8584" y="186325"/>
            <a:ext cx="8087863" cy="307777"/>
          </a:xfrm>
        </p:spPr>
        <p:txBody>
          <a:bodyPr/>
          <a:lstStyle/>
          <a:p>
            <a:r>
              <a:rPr lang="en-US" sz="2000" dirty="0"/>
              <a:t>2021 MESH UPDAT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773702-AC82-4A37-B161-F501E35CBC97}"/>
              </a:ext>
            </a:extLst>
          </p:cNvPr>
          <p:cNvSpPr/>
          <p:nvPr/>
        </p:nvSpPr>
        <p:spPr>
          <a:xfrm>
            <a:off x="0" y="1317627"/>
            <a:ext cx="7113864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2020 – presented significant challenges, with no in-person meetings.  Activity from a MESH perspective, like general membership meetings – ON HOLD.</a:t>
            </a:r>
            <a:endParaRPr lang="en-US" sz="1600" baseline="0" dirty="0">
              <a:solidFill>
                <a:srgbClr val="003B6A"/>
              </a:solidFill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3B6A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aseline="0" dirty="0">
                <a:solidFill>
                  <a:srgbClr val="003B6A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~Late 3Q2021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– Planning to conduct an in-person, 2-day MESH meeting.  Meeting will be conducted in the Pittsburgh area, with a comprehensive 4-5 hour “boots on the ground” tour of the USS Clairton facilities:</a:t>
            </a:r>
          </a:p>
          <a:p>
            <a:pPr marL="742950" lvl="1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aseline="0" dirty="0">
                <a:solidFill>
                  <a:srgbClr val="003B6A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Tour options will be provided – either coal and coke operations or chemicals and utilities operations.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B6A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ESH Meeting - Program Content/Format: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B6A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aseline="0" dirty="0">
                <a:solidFill>
                  <a:srgbClr val="003B6A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Day 1: AM session – </a:t>
            </a:r>
            <a:r>
              <a:rPr lang="en-US" sz="1800" u="sng" baseline="0" dirty="0">
                <a:solidFill>
                  <a:srgbClr val="003B6A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ember Companies only </a:t>
            </a:r>
            <a:r>
              <a:rPr lang="en-US" sz="1800" baseline="0" dirty="0">
                <a:solidFill>
                  <a:srgbClr val="003B6A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– Safety and Environmental</a:t>
            </a:r>
          </a:p>
          <a:p>
            <a:pPr marL="742950" lvl="1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Day 1: PM Session – 4-5 hour tour of USS Clairton Works (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training must be completed in advan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3B6A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, no training = no tour) – suppliers can join tour.  Group dinner to follow tour.</a:t>
            </a:r>
          </a:p>
          <a:p>
            <a:pPr marL="742950" lvl="1" indent="-285750" algn="l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800" baseline="0" dirty="0">
                <a:solidFill>
                  <a:srgbClr val="003B6A"/>
                </a:solidFill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Day 2: All day session – industry technical presentation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B6A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742614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B6A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6" descr="HighChargeCS#1-TonsperOven">
            <a:extLst>
              <a:ext uri="{FF2B5EF4-FFF2-40B4-BE49-F238E27FC236}">
                <a16:creationId xmlns:a16="http://schemas.microsoft.com/office/drawing/2014/main" id="{3D168A64-4B5D-42E6-91C8-B1B85D7C41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97755" y="903313"/>
            <a:ext cx="1946246" cy="5614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59630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hUdFegRQ2E6f58ETnn5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8/5/2008 12:22:57 PM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8/5/2008 12:22:58 PM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amp"/>
  <p:tag name="DATE" val="8/5/2008 12:39:07 PM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8/5/2008 12:39:07 PM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tpConnector"/>
  <p:tag name="DATE" val="8/5/2008 12:39:07 PM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lLY.VFzg4T4kzwyYyR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DGoMyKAhLzt.vYi5o73Q"/>
</p:tagLst>
</file>

<file path=ppt/theme/theme1.xml><?xml version="1.0" encoding="utf-8"?>
<a:theme xmlns:a="http://schemas.openxmlformats.org/drawingml/2006/main" name="1_ERP P2 PMO PowerPoint Template v1.0">
  <a:themeElements>
    <a:clrScheme name="1_ERP P2 PMO PowerPoint Template v1.0 2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006699"/>
      </a:accent1>
      <a:accent2>
        <a:srgbClr val="FF6600"/>
      </a:accent2>
      <a:accent3>
        <a:srgbClr val="FFFFFF"/>
      </a:accent3>
      <a:accent4>
        <a:srgbClr val="000000"/>
      </a:accent4>
      <a:accent5>
        <a:srgbClr val="AAB8CA"/>
      </a:accent5>
      <a:accent6>
        <a:srgbClr val="E75C00"/>
      </a:accent6>
      <a:hlink>
        <a:srgbClr val="663399"/>
      </a:hlink>
      <a:folHlink>
        <a:srgbClr val="FF0000"/>
      </a:folHlink>
    </a:clrScheme>
    <a:fontScheme name="1_ERP P2 PMO PowerPoint Template v1.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ERP P2 PMO PowerPoint Template v1.0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RP P2 PMO PowerPoint Template v1.0 2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6699"/>
        </a:accent1>
        <a:accent2>
          <a:srgbClr val="FF6600"/>
        </a:accent2>
        <a:accent3>
          <a:srgbClr val="FFFFFF"/>
        </a:accent3>
        <a:accent4>
          <a:srgbClr val="000000"/>
        </a:accent4>
        <a:accent5>
          <a:srgbClr val="AAB8CA"/>
        </a:accent5>
        <a:accent6>
          <a:srgbClr val="E75C00"/>
        </a:accent6>
        <a:hlink>
          <a:srgbClr val="663399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RP P2 PMO PowerPoint Template v1.0 3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336633"/>
        </a:accent1>
        <a:accent2>
          <a:srgbClr val="336666"/>
        </a:accent2>
        <a:accent3>
          <a:srgbClr val="FFFFFF"/>
        </a:accent3>
        <a:accent4>
          <a:srgbClr val="000000"/>
        </a:accent4>
        <a:accent5>
          <a:srgbClr val="ADB8AD"/>
        </a:accent5>
        <a:accent6>
          <a:srgbClr val="2D5C5C"/>
        </a:accent6>
        <a:hlink>
          <a:srgbClr val="9900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RP P2 PMO PowerPoint Template v1.0 4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CCCC33"/>
        </a:accent1>
        <a:accent2>
          <a:srgbClr val="66CC00"/>
        </a:accent2>
        <a:accent3>
          <a:srgbClr val="FFFFFF"/>
        </a:accent3>
        <a:accent4>
          <a:srgbClr val="000000"/>
        </a:accent4>
        <a:accent5>
          <a:srgbClr val="E2E2AD"/>
        </a:accent5>
        <a:accent6>
          <a:srgbClr val="5CB900"/>
        </a:accent6>
        <a:hlink>
          <a:srgbClr val="0099CC"/>
        </a:hlink>
        <a:folHlink>
          <a:srgbClr val="6666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 2">
  <a:themeElements>
    <a:clrScheme name="Custom Design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-2500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USS PPT template 20130925 v02">
  <a:themeElements>
    <a:clrScheme name="Current">
      <a:dk1>
        <a:srgbClr val="003B6A"/>
      </a:dk1>
      <a:lt1>
        <a:srgbClr val="FFFFFF"/>
      </a:lt1>
      <a:dk2>
        <a:srgbClr val="003B6A"/>
      </a:dk2>
      <a:lt2>
        <a:srgbClr val="FFFFFF"/>
      </a:lt2>
      <a:accent1>
        <a:srgbClr val="EAEAEA"/>
      </a:accent1>
      <a:accent2>
        <a:srgbClr val="CFE5FA"/>
      </a:accent2>
      <a:accent3>
        <a:srgbClr val="7A92A9"/>
      </a:accent3>
      <a:accent4>
        <a:srgbClr val="003B6A"/>
      </a:accent4>
      <a:accent5>
        <a:srgbClr val="FF6600"/>
      </a:accent5>
      <a:accent6>
        <a:srgbClr val="808080"/>
      </a:accent6>
      <a:hlink>
        <a:srgbClr val="7A92A9"/>
      </a:hlink>
      <a:folHlink>
        <a:srgbClr val="003B6A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USS PPT template 20130925 v02 1">
        <a:dk1>
          <a:srgbClr val="003B6A"/>
        </a:dk1>
        <a:lt1>
          <a:srgbClr val="FFFFFF"/>
        </a:lt1>
        <a:dk2>
          <a:srgbClr val="003B6A"/>
        </a:dk2>
        <a:lt2>
          <a:srgbClr val="FFFFFF"/>
        </a:lt2>
        <a:accent1>
          <a:srgbClr val="EAEAEA"/>
        </a:accent1>
        <a:accent2>
          <a:srgbClr val="CFE5FA"/>
        </a:accent2>
        <a:accent3>
          <a:srgbClr val="FFFFFF"/>
        </a:accent3>
        <a:accent4>
          <a:srgbClr val="003159"/>
        </a:accent4>
        <a:accent5>
          <a:srgbClr val="F3F3F3"/>
        </a:accent5>
        <a:accent6>
          <a:srgbClr val="BBCFE3"/>
        </a:accent6>
        <a:hlink>
          <a:srgbClr val="7A92A9"/>
        </a:hlink>
        <a:folHlink>
          <a:srgbClr val="003B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19B4815B82EF4FABE3D424648B5258" ma:contentTypeVersion="15" ma:contentTypeDescription="Create a new document." ma:contentTypeScope="" ma:versionID="ef1a77e522aedb56c858ba506eed29f2">
  <xsd:schema xmlns:xsd="http://www.w3.org/2001/XMLSchema" xmlns:xs="http://www.w3.org/2001/XMLSchema" xmlns:p="http://schemas.microsoft.com/office/2006/metadata/properties" xmlns:ns1="http://schemas.microsoft.com/sharepoint/v3" xmlns:ns3="685b18af-ad39-44b2-ae14-11e2fadca077" xmlns:ns4="026a5b5c-0f6f-405b-b3f5-48731261dc2c" targetNamespace="http://schemas.microsoft.com/office/2006/metadata/properties" ma:root="true" ma:fieldsID="1e7f452e23cdfd64f7009348d96eae2f" ns1:_="" ns3:_="" ns4:_="">
    <xsd:import namespace="http://schemas.microsoft.com/sharepoint/v3"/>
    <xsd:import namespace="685b18af-ad39-44b2-ae14-11e2fadca077"/>
    <xsd:import namespace="026a5b5c-0f6f-405b-b3f5-48731261dc2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5b18af-ad39-44b2-ae14-11e2fadca0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6a5b5c-0f6f-405b-b3f5-48731261dc2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473922F-1F71-4C9B-BA20-0BF379D9FED7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1E83ED62-91F0-4E67-91DD-050FDAA0671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0F8B87-DBA5-48D6-BA85-DB751CE9BC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85b18af-ad39-44b2-ae14-11e2fadca077"/>
    <ds:schemaRef ds:uri="026a5b5c-0f6f-405b-b3f5-48731261dc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369</TotalTime>
  <Words>156</Words>
  <Application>Microsoft Office PowerPoint</Application>
  <PresentationFormat>On-screen Show (4:3)</PresentationFormat>
  <Paragraphs>1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Times New Roman</vt:lpstr>
      <vt:lpstr>1_ERP P2 PMO PowerPoint Template v1.0</vt:lpstr>
      <vt:lpstr>Custom Design 2</vt:lpstr>
      <vt:lpstr>5_USS PPT template 20130925 v02</vt:lpstr>
      <vt:lpstr>think-cell Slide</vt:lpstr>
      <vt:lpstr>2021 MESH UPDATE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herbier, Louis W</dc:creator>
  <cp:lastModifiedBy>Rhoads, Mike S</cp:lastModifiedBy>
  <cp:revision>1661</cp:revision>
  <cp:lastPrinted>2020-07-14T18:33:45Z</cp:lastPrinted>
  <dcterms:created xsi:type="dcterms:W3CDTF">2003-03-04T17:54:26Z</dcterms:created>
  <dcterms:modified xsi:type="dcterms:W3CDTF">2021-05-05T12:1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liverable ID">
    <vt:lpwstr>174</vt:lpwstr>
  </property>
  <property fmtid="{D5CDD505-2E9C-101B-9397-08002B2CF9AE}" pid="3" name="Owner">
    <vt:lpwstr>478</vt:lpwstr>
  </property>
  <property fmtid="{D5CDD505-2E9C-101B-9397-08002B2CF9AE}" pid="4" name="Document Status">
    <vt:lpwstr>2</vt:lpwstr>
  </property>
  <property fmtid="{D5CDD505-2E9C-101B-9397-08002B2CF9AE}" pid="5" name="Team">
    <vt:lpwstr>28</vt:lpwstr>
  </property>
  <property fmtid="{D5CDD505-2E9C-101B-9397-08002B2CF9AE}" pid="6" name="Document Type">
    <vt:lpwstr>2</vt:lpwstr>
  </property>
  <property fmtid="{D5CDD505-2E9C-101B-9397-08002B2CF9AE}" pid="7" name="Stakeholder Approver">
    <vt:lpwstr>347</vt:lpwstr>
  </property>
  <property fmtid="{D5CDD505-2E9C-101B-9397-08002B2CF9AE}" pid="8" name="Wave 1 Link">
    <vt:lpwstr/>
  </property>
  <property fmtid="{D5CDD505-2E9C-101B-9397-08002B2CF9AE}" pid="9" name="Peer Reviewer">
    <vt:lpwstr>0</vt:lpwstr>
  </property>
  <property fmtid="{D5CDD505-2E9C-101B-9397-08002B2CF9AE}" pid="10" name="Stakeholder Reviewer">
    <vt:lpwstr>0</vt:lpwstr>
  </property>
  <property fmtid="{D5CDD505-2E9C-101B-9397-08002B2CF9AE}" pid="11" name="ContentType">
    <vt:lpwstr>Document</vt:lpwstr>
  </property>
  <property fmtid="{D5CDD505-2E9C-101B-9397-08002B2CF9AE}" pid="12" name="ContentTypeId">
    <vt:lpwstr>0x010100D219B4815B82EF4FABE3D424648B5258</vt:lpwstr>
  </property>
</Properties>
</file>